
<file path=[Content_Types].xml><?xml version="1.0" encoding="utf-8"?>
<Types xmlns="http://schemas.openxmlformats.org/package/2006/content-types"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3696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4" orient="horz" pos="327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7D"/>
    <a:srgbClr val="B8C9E3"/>
    <a:srgbClr val="A1F2FF"/>
    <a:srgbClr val="CEE6F3"/>
    <a:srgbClr val="1990D4"/>
    <a:srgbClr val="00003F"/>
    <a:srgbClr val="00B3E3"/>
    <a:srgbClr val="000099"/>
    <a:srgbClr val="DFECFD"/>
    <a:srgbClr val="F5FA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850" autoAdjust="0"/>
    <p:restoredTop sz="96201" autoAdjust="0"/>
  </p:normalViewPr>
  <p:slideViewPr>
    <p:cSldViewPr snapToGrid="0">
      <p:cViewPr varScale="1">
        <p:scale>
          <a:sx n="106" d="100"/>
          <a:sy n="106" d="100"/>
        </p:scale>
        <p:origin x="486" y="96"/>
      </p:cViewPr>
      <p:guideLst>
        <p:guide pos="3840"/>
        <p:guide orient="horz" pos="327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11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C30DC546-A160-40B6-92C2-C2C8C7C6873D}" type="datetimeFigureOut">
              <a:rPr lang="en-US" smtClean="0"/>
              <a:pPr/>
              <a:t>4/2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DD1A2537-3EE0-4E98-9EF3-DEFAB0CB953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1881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1A2537-3EE0-4E98-9EF3-DEFAB0CB953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68961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4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1519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4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44686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0083614-B309-4FBC-B91E-FE617CD6F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716A2D-842B-4196-AEF8-54FBA593F7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FF4693-79F5-4AA8-9D0A-F8E292CE2C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8586E3-F188-4180-8D43-CF184C61D618}" type="datetimeFigureOut">
              <a:rPr lang="en-US" smtClean="0"/>
              <a:t>4/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42E669-5AD1-4712-9719-9C97D81B82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4856B2-33AA-4803-B4CE-B642517526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53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31" r:id="rId2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CD6FEA-9D75-40F3-B5FB-E2BACB0223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 Her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68624F4-F9E2-4E61-AC14-702CC332DA9C}"/>
              </a:ext>
            </a:extLst>
          </p:cNvPr>
          <p:cNvGrpSpPr/>
          <p:nvPr/>
        </p:nvGrpSpPr>
        <p:grpSpPr>
          <a:xfrm>
            <a:off x="1971108" y="4475162"/>
            <a:ext cx="8252938" cy="1150575"/>
            <a:chOff x="1971108" y="4475162"/>
            <a:chExt cx="8252938" cy="1150575"/>
          </a:xfrm>
        </p:grpSpPr>
        <p:grpSp>
          <p:nvGrpSpPr>
            <p:cNvPr id="93" name="Group 92">
              <a:extLst>
                <a:ext uri="{FF2B5EF4-FFF2-40B4-BE49-F238E27FC236}">
                  <a16:creationId xmlns:a16="http://schemas.microsoft.com/office/drawing/2014/main" id="{C9D962D1-BBDD-4217-B909-87CBC101657C}"/>
                </a:ext>
              </a:extLst>
            </p:cNvPr>
            <p:cNvGrpSpPr/>
            <p:nvPr/>
          </p:nvGrpSpPr>
          <p:grpSpPr>
            <a:xfrm>
              <a:off x="1971108" y="4475162"/>
              <a:ext cx="1714274" cy="1150575"/>
              <a:chOff x="1391557" y="4785743"/>
              <a:chExt cx="2157402" cy="1150575"/>
            </a:xfrm>
          </p:grpSpPr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1821B109-5991-424F-821D-B67A3D385728}"/>
                  </a:ext>
                </a:extLst>
              </p:cNvPr>
              <p:cNvSpPr txBox="1"/>
              <p:nvPr/>
            </p:nvSpPr>
            <p:spPr>
              <a:xfrm>
                <a:off x="1391557" y="5105321"/>
                <a:ext cx="2157402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d-ID" sz="1200" dirty="0">
                    <a:solidFill>
                      <a:schemeClr val="tx2"/>
                    </a:solidFill>
                  </a:rPr>
                  <a:t>Lorem ipsum dolor sit amet, consectetuer adipiscing elit, sed diam nonummy. </a:t>
                </a: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376CBB05-FEA6-439E-B5D6-6C9DBB711050}"/>
                  </a:ext>
                </a:extLst>
              </p:cNvPr>
              <p:cNvSpPr txBox="1"/>
              <p:nvPr/>
            </p:nvSpPr>
            <p:spPr>
              <a:xfrm>
                <a:off x="1395526" y="4785743"/>
                <a:ext cx="214946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d-ID" sz="1600" dirty="0">
                    <a:solidFill>
                      <a:schemeClr val="accent1"/>
                    </a:solidFill>
                    <a:latin typeface="+mj-lt"/>
                  </a:rPr>
                  <a:t>Awareness</a:t>
                </a:r>
              </a:p>
            </p:txBody>
          </p:sp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F2E9A168-A192-497C-97A1-303D2D9D2489}"/>
                </a:ext>
              </a:extLst>
            </p:cNvPr>
            <p:cNvGrpSpPr/>
            <p:nvPr/>
          </p:nvGrpSpPr>
          <p:grpSpPr>
            <a:xfrm>
              <a:off x="3621346" y="4475162"/>
              <a:ext cx="1714274" cy="1150575"/>
              <a:chOff x="1391557" y="4785743"/>
              <a:chExt cx="2157402" cy="1150575"/>
            </a:xfrm>
          </p:grpSpPr>
          <p:sp>
            <p:nvSpPr>
              <p:cNvPr id="97" name="TextBox 96">
                <a:extLst>
                  <a:ext uri="{FF2B5EF4-FFF2-40B4-BE49-F238E27FC236}">
                    <a16:creationId xmlns:a16="http://schemas.microsoft.com/office/drawing/2014/main" id="{8E8ACF34-0C46-47BE-AC25-281EFD38E9AC}"/>
                  </a:ext>
                </a:extLst>
              </p:cNvPr>
              <p:cNvSpPr txBox="1"/>
              <p:nvPr/>
            </p:nvSpPr>
            <p:spPr>
              <a:xfrm>
                <a:off x="1391557" y="5105321"/>
                <a:ext cx="2157402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d-ID" sz="1200" dirty="0">
                    <a:solidFill>
                      <a:schemeClr val="tx2"/>
                    </a:solidFill>
                  </a:rPr>
                  <a:t>Lorem ipsum dolor sit amet, consectetuer adipiscing elit, sed diam nonummy. </a:t>
                </a: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D85B8637-26A4-40A2-AFDE-678B809A09CF}"/>
                  </a:ext>
                </a:extLst>
              </p:cNvPr>
              <p:cNvSpPr txBox="1"/>
              <p:nvPr/>
            </p:nvSpPr>
            <p:spPr>
              <a:xfrm>
                <a:off x="1395526" y="4785743"/>
                <a:ext cx="214946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d-ID" sz="1600" dirty="0">
                    <a:solidFill>
                      <a:schemeClr val="accent1"/>
                    </a:solidFill>
                    <a:latin typeface="+mj-lt"/>
                  </a:rPr>
                  <a:t>Desire</a:t>
                </a:r>
              </a:p>
            </p:txBody>
          </p:sp>
        </p:grpSp>
        <p:grpSp>
          <p:nvGrpSpPr>
            <p:cNvPr id="99" name="Group 98">
              <a:extLst>
                <a:ext uri="{FF2B5EF4-FFF2-40B4-BE49-F238E27FC236}">
                  <a16:creationId xmlns:a16="http://schemas.microsoft.com/office/drawing/2014/main" id="{86255089-AC07-487B-AB87-98790823E918}"/>
                </a:ext>
              </a:extLst>
            </p:cNvPr>
            <p:cNvGrpSpPr/>
            <p:nvPr/>
          </p:nvGrpSpPr>
          <p:grpSpPr>
            <a:xfrm>
              <a:off x="6885638" y="4475162"/>
              <a:ext cx="1714274" cy="1150575"/>
              <a:chOff x="1391557" y="4785743"/>
              <a:chExt cx="2157402" cy="1150575"/>
            </a:xfrm>
          </p:grpSpPr>
          <p:sp>
            <p:nvSpPr>
              <p:cNvPr id="100" name="TextBox 99">
                <a:extLst>
                  <a:ext uri="{FF2B5EF4-FFF2-40B4-BE49-F238E27FC236}">
                    <a16:creationId xmlns:a16="http://schemas.microsoft.com/office/drawing/2014/main" id="{5254EA4A-A1BD-4E39-8B02-4BF9EBB1A30F}"/>
                  </a:ext>
                </a:extLst>
              </p:cNvPr>
              <p:cNvSpPr txBox="1"/>
              <p:nvPr/>
            </p:nvSpPr>
            <p:spPr>
              <a:xfrm>
                <a:off x="1391557" y="5105321"/>
                <a:ext cx="2157402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d-ID" sz="1200" dirty="0">
                    <a:solidFill>
                      <a:schemeClr val="tx2"/>
                    </a:solidFill>
                  </a:rPr>
                  <a:t>Lorem ipsum dolor sit amet, consectetuer adipiscing elit, sed diam nonummy. </a:t>
                </a:r>
              </a:p>
            </p:txBody>
          </p:sp>
          <p:sp>
            <p:nvSpPr>
              <p:cNvPr id="101" name="TextBox 100">
                <a:extLst>
                  <a:ext uri="{FF2B5EF4-FFF2-40B4-BE49-F238E27FC236}">
                    <a16:creationId xmlns:a16="http://schemas.microsoft.com/office/drawing/2014/main" id="{433BC6B7-7BFB-485B-95A7-625D6E7A4C74}"/>
                  </a:ext>
                </a:extLst>
              </p:cNvPr>
              <p:cNvSpPr txBox="1"/>
              <p:nvPr/>
            </p:nvSpPr>
            <p:spPr>
              <a:xfrm>
                <a:off x="1395526" y="4785743"/>
                <a:ext cx="214946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d-ID" sz="1600" dirty="0">
                    <a:solidFill>
                      <a:schemeClr val="accent4"/>
                    </a:solidFill>
                    <a:latin typeface="+mj-lt"/>
                  </a:rPr>
                  <a:t>Ability</a:t>
                </a:r>
              </a:p>
            </p:txBody>
          </p:sp>
        </p:grpSp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1187DEE9-ED14-4D7E-9933-F9D75A118FE1}"/>
                </a:ext>
              </a:extLst>
            </p:cNvPr>
            <p:cNvGrpSpPr/>
            <p:nvPr/>
          </p:nvGrpSpPr>
          <p:grpSpPr>
            <a:xfrm>
              <a:off x="8509772" y="4475162"/>
              <a:ext cx="1714274" cy="1150575"/>
              <a:chOff x="1391557" y="4785743"/>
              <a:chExt cx="2157402" cy="1150575"/>
            </a:xfrm>
          </p:grpSpPr>
          <p:sp>
            <p:nvSpPr>
              <p:cNvPr id="103" name="TextBox 102">
                <a:extLst>
                  <a:ext uri="{FF2B5EF4-FFF2-40B4-BE49-F238E27FC236}">
                    <a16:creationId xmlns:a16="http://schemas.microsoft.com/office/drawing/2014/main" id="{8824884C-791B-4347-B2C8-D5908A00DEB1}"/>
                  </a:ext>
                </a:extLst>
              </p:cNvPr>
              <p:cNvSpPr txBox="1"/>
              <p:nvPr/>
            </p:nvSpPr>
            <p:spPr>
              <a:xfrm>
                <a:off x="1391557" y="5105321"/>
                <a:ext cx="2157402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d-ID" sz="1200" dirty="0">
                    <a:solidFill>
                      <a:schemeClr val="tx2"/>
                    </a:solidFill>
                  </a:rPr>
                  <a:t>Lorem ipsum dolor sit amet, consectetuer adipiscing elit, sed diam nonummy. </a:t>
                </a: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6F6C4124-CB1B-4B20-AF95-0964BD192D61}"/>
                  </a:ext>
                </a:extLst>
              </p:cNvPr>
              <p:cNvSpPr txBox="1"/>
              <p:nvPr/>
            </p:nvSpPr>
            <p:spPr>
              <a:xfrm>
                <a:off x="1395526" y="4785743"/>
                <a:ext cx="214946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d-ID" sz="1600" dirty="0">
                    <a:solidFill>
                      <a:schemeClr val="accent5"/>
                    </a:solidFill>
                    <a:latin typeface="+mj-lt"/>
                  </a:rPr>
                  <a:t>Reinforcement</a:t>
                </a:r>
              </a:p>
            </p:txBody>
          </p:sp>
        </p:grpSp>
        <p:grpSp>
          <p:nvGrpSpPr>
            <p:cNvPr id="105" name="Group 104">
              <a:extLst>
                <a:ext uri="{FF2B5EF4-FFF2-40B4-BE49-F238E27FC236}">
                  <a16:creationId xmlns:a16="http://schemas.microsoft.com/office/drawing/2014/main" id="{6AB09B9F-B9F6-4CCF-AEBF-287A99CAC69F}"/>
                </a:ext>
              </a:extLst>
            </p:cNvPr>
            <p:cNvGrpSpPr/>
            <p:nvPr/>
          </p:nvGrpSpPr>
          <p:grpSpPr>
            <a:xfrm>
              <a:off x="5238863" y="4475162"/>
              <a:ext cx="1714274" cy="1150575"/>
              <a:chOff x="1391557" y="4785743"/>
              <a:chExt cx="2157402" cy="1150575"/>
            </a:xfrm>
          </p:grpSpPr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33CF92E9-38CA-4449-81C6-91B10DBD5726}"/>
                  </a:ext>
                </a:extLst>
              </p:cNvPr>
              <p:cNvSpPr txBox="1"/>
              <p:nvPr/>
            </p:nvSpPr>
            <p:spPr>
              <a:xfrm>
                <a:off x="1391557" y="5105321"/>
                <a:ext cx="2157402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d-ID" sz="1200" dirty="0">
                    <a:solidFill>
                      <a:schemeClr val="tx2"/>
                    </a:solidFill>
                  </a:rPr>
                  <a:t>Lorem ipsum dolor sit amet, consectetuer adipiscing elit, sed diam nonummy. </a:t>
                </a:r>
              </a:p>
            </p:txBody>
          </p:sp>
          <p:sp>
            <p:nvSpPr>
              <p:cNvPr id="107" name="TextBox 106">
                <a:extLst>
                  <a:ext uri="{FF2B5EF4-FFF2-40B4-BE49-F238E27FC236}">
                    <a16:creationId xmlns:a16="http://schemas.microsoft.com/office/drawing/2014/main" id="{9913B948-AD9B-4D18-8657-928ACD2881D3}"/>
                  </a:ext>
                </a:extLst>
              </p:cNvPr>
              <p:cNvSpPr txBox="1"/>
              <p:nvPr/>
            </p:nvSpPr>
            <p:spPr>
              <a:xfrm>
                <a:off x="1395526" y="4785743"/>
                <a:ext cx="214946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id-ID" sz="1600" dirty="0">
                    <a:solidFill>
                      <a:schemeClr val="accent3"/>
                    </a:solidFill>
                    <a:latin typeface="+mj-lt"/>
                  </a:rPr>
                  <a:t>Knowledge</a:t>
                </a:r>
              </a:p>
            </p:txBody>
          </p:sp>
        </p:grp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D558DB48-A319-4EBD-8DF1-A3D85A8A3B70}"/>
              </a:ext>
            </a:extLst>
          </p:cNvPr>
          <p:cNvGrpSpPr/>
          <p:nvPr/>
        </p:nvGrpSpPr>
        <p:grpSpPr>
          <a:xfrm>
            <a:off x="1721644" y="1651000"/>
            <a:ext cx="8748712" cy="2735263"/>
            <a:chOff x="1761143" y="1651000"/>
            <a:chExt cx="8748712" cy="2735263"/>
          </a:xfrm>
        </p:grpSpPr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AC225FD2-4FC4-4CAE-85E8-08335E817CD4}"/>
                </a:ext>
              </a:extLst>
            </p:cNvPr>
            <p:cNvGrpSpPr/>
            <p:nvPr/>
          </p:nvGrpSpPr>
          <p:grpSpPr>
            <a:xfrm>
              <a:off x="8782655" y="3922713"/>
              <a:ext cx="1239838" cy="463550"/>
              <a:chOff x="8782655" y="3922713"/>
              <a:chExt cx="1239838" cy="463550"/>
            </a:xfrm>
          </p:grpSpPr>
          <p:sp>
            <p:nvSpPr>
              <p:cNvPr id="109" name="Freeform 298">
                <a:extLst>
                  <a:ext uri="{FF2B5EF4-FFF2-40B4-BE49-F238E27FC236}">
                    <a16:creationId xmlns:a16="http://schemas.microsoft.com/office/drawing/2014/main" id="{10DF8BF5-1535-47B9-A6D1-25E3093F38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782655" y="3922713"/>
                <a:ext cx="1239838" cy="155575"/>
              </a:xfrm>
              <a:custGeom>
                <a:avLst/>
                <a:gdLst>
                  <a:gd name="T0" fmla="*/ 1239838 w 330"/>
                  <a:gd name="T1" fmla="*/ 0 h 41"/>
                  <a:gd name="T2" fmla="*/ 619919 w 330"/>
                  <a:gd name="T3" fmla="*/ 155575 h 41"/>
                  <a:gd name="T4" fmla="*/ 0 w 330"/>
                  <a:gd name="T5" fmla="*/ 0 h 4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330" h="41">
                    <a:moveTo>
                      <a:pt x="330" y="0"/>
                    </a:moveTo>
                    <a:cubicBezTo>
                      <a:pt x="281" y="26"/>
                      <a:pt x="225" y="41"/>
                      <a:pt x="165" y="41"/>
                    </a:cubicBezTo>
                    <a:cubicBezTo>
                      <a:pt x="105" y="41"/>
                      <a:pt x="49" y="26"/>
                      <a:pt x="0" y="0"/>
                    </a:cubicBezTo>
                  </a:path>
                </a:pathLst>
              </a:custGeom>
              <a:noFill/>
              <a:ln w="30163" cap="rnd">
                <a:gradFill flip="none" rotWithShape="1">
                  <a:gsLst>
                    <a:gs pos="0">
                      <a:schemeClr val="accent5">
                        <a:lumMod val="89000"/>
                      </a:schemeClr>
                    </a:gs>
                    <a:gs pos="23000">
                      <a:schemeClr val="accent5">
                        <a:lumMod val="89000"/>
                      </a:schemeClr>
                    </a:gs>
                    <a:gs pos="69000">
                      <a:schemeClr val="accent5">
                        <a:lumMod val="75000"/>
                      </a:schemeClr>
                    </a:gs>
                    <a:gs pos="97000">
                      <a:schemeClr val="accent5">
                        <a:lumMod val="7000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endParaRPr lang="ru-RU" sz="1400">
                  <a:latin typeface="+mj-lt"/>
                </a:endParaRPr>
              </a:p>
            </p:txBody>
          </p:sp>
          <p:sp>
            <p:nvSpPr>
              <p:cNvPr id="110" name="Line 299">
                <a:extLst>
                  <a:ext uri="{FF2B5EF4-FFF2-40B4-BE49-F238E27FC236}">
                    <a16:creationId xmlns:a16="http://schemas.microsoft.com/office/drawing/2014/main" id="{C1FACC0A-0DD9-4CFB-8F53-D49E5241475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403367" y="4078288"/>
                <a:ext cx="0" cy="198438"/>
              </a:xfrm>
              <a:prstGeom prst="line">
                <a:avLst/>
              </a:prstGeom>
              <a:noFill/>
              <a:ln w="30163" cap="rnd">
                <a:gradFill flip="none" rotWithShape="1">
                  <a:gsLst>
                    <a:gs pos="0">
                      <a:schemeClr val="accent5">
                        <a:lumMod val="89000"/>
                      </a:schemeClr>
                    </a:gs>
                    <a:gs pos="23000">
                      <a:schemeClr val="accent5">
                        <a:lumMod val="89000"/>
                      </a:schemeClr>
                    </a:gs>
                    <a:gs pos="69000">
                      <a:schemeClr val="accent5">
                        <a:lumMod val="75000"/>
                      </a:schemeClr>
                    </a:gs>
                    <a:gs pos="97000">
                      <a:schemeClr val="accent5">
                        <a:lumMod val="7000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endParaRPr lang="ru-RU" sz="1400">
                  <a:latin typeface="+mj-lt"/>
                </a:endParaRPr>
              </a:p>
            </p:txBody>
          </p:sp>
          <p:sp>
            <p:nvSpPr>
              <p:cNvPr id="111" name="Oval 300">
                <a:extLst>
                  <a:ext uri="{FF2B5EF4-FFF2-40B4-BE49-F238E27FC236}">
                    <a16:creationId xmlns:a16="http://schemas.microsoft.com/office/drawing/2014/main" id="{CB295070-003A-45B6-A208-84E4B50C0A9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350980" y="4276725"/>
                <a:ext cx="104775" cy="109538"/>
              </a:xfrm>
              <a:prstGeom prst="ellipse">
                <a:avLst/>
              </a:prstGeom>
              <a:noFill/>
              <a:ln w="30163" cap="rnd">
                <a:gradFill flip="none" rotWithShape="1">
                  <a:gsLst>
                    <a:gs pos="0">
                      <a:schemeClr val="accent5">
                        <a:lumMod val="89000"/>
                      </a:schemeClr>
                    </a:gs>
                    <a:gs pos="23000">
                      <a:schemeClr val="accent5">
                        <a:lumMod val="89000"/>
                      </a:schemeClr>
                    </a:gs>
                    <a:gs pos="69000">
                      <a:schemeClr val="accent5">
                        <a:lumMod val="75000"/>
                      </a:schemeClr>
                    </a:gs>
                    <a:gs pos="97000">
                      <a:schemeClr val="accent5">
                        <a:lumMod val="7000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endParaRPr lang="ru-RU" altLang="ru-RU" sz="1400">
                  <a:latin typeface="+mj-lt"/>
                </a:endParaRPr>
              </a:p>
            </p:txBody>
          </p:sp>
        </p:grpSp>
        <p:grpSp>
          <p:nvGrpSpPr>
            <p:cNvPr id="112" name="Group 111">
              <a:extLst>
                <a:ext uri="{FF2B5EF4-FFF2-40B4-BE49-F238E27FC236}">
                  <a16:creationId xmlns:a16="http://schemas.microsoft.com/office/drawing/2014/main" id="{7E23B1D7-DDAC-45D9-B903-EB3F444878A4}"/>
                </a:ext>
              </a:extLst>
            </p:cNvPr>
            <p:cNvGrpSpPr/>
            <p:nvPr/>
          </p:nvGrpSpPr>
          <p:grpSpPr>
            <a:xfrm>
              <a:off x="7149117" y="3919538"/>
              <a:ext cx="1239838" cy="463550"/>
              <a:chOff x="7149117" y="3919538"/>
              <a:chExt cx="1239838" cy="463550"/>
            </a:xfrm>
          </p:grpSpPr>
          <p:sp>
            <p:nvSpPr>
              <p:cNvPr id="113" name="Freeform 301">
                <a:extLst>
                  <a:ext uri="{FF2B5EF4-FFF2-40B4-BE49-F238E27FC236}">
                    <a16:creationId xmlns:a16="http://schemas.microsoft.com/office/drawing/2014/main" id="{B2FA3AF5-106C-4AE6-A335-1404108923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49117" y="3919538"/>
                <a:ext cx="1239838" cy="153988"/>
              </a:xfrm>
              <a:custGeom>
                <a:avLst/>
                <a:gdLst>
                  <a:gd name="T0" fmla="*/ 1239838 w 330"/>
                  <a:gd name="T1" fmla="*/ 0 h 41"/>
                  <a:gd name="T2" fmla="*/ 619919 w 330"/>
                  <a:gd name="T3" fmla="*/ 153988 h 41"/>
                  <a:gd name="T4" fmla="*/ 0 w 330"/>
                  <a:gd name="T5" fmla="*/ 0 h 4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330" h="41">
                    <a:moveTo>
                      <a:pt x="330" y="0"/>
                    </a:moveTo>
                    <a:cubicBezTo>
                      <a:pt x="281" y="26"/>
                      <a:pt x="225" y="41"/>
                      <a:pt x="165" y="41"/>
                    </a:cubicBezTo>
                    <a:cubicBezTo>
                      <a:pt x="105" y="41"/>
                      <a:pt x="49" y="26"/>
                      <a:pt x="0" y="0"/>
                    </a:cubicBezTo>
                  </a:path>
                </a:pathLst>
              </a:custGeom>
              <a:noFill/>
              <a:ln w="30163" cap="rnd">
                <a:gradFill flip="none" rotWithShape="1">
                  <a:gsLst>
                    <a:gs pos="0">
                      <a:schemeClr val="accent4">
                        <a:lumMod val="89000"/>
                      </a:schemeClr>
                    </a:gs>
                    <a:gs pos="23000">
                      <a:schemeClr val="accent4">
                        <a:lumMod val="89000"/>
                      </a:schemeClr>
                    </a:gs>
                    <a:gs pos="69000">
                      <a:schemeClr val="accent4">
                        <a:lumMod val="75000"/>
                      </a:schemeClr>
                    </a:gs>
                    <a:gs pos="97000">
                      <a:schemeClr val="accent4">
                        <a:lumMod val="7000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endParaRPr lang="ru-RU" sz="1400">
                  <a:latin typeface="+mj-lt"/>
                </a:endParaRPr>
              </a:p>
            </p:txBody>
          </p:sp>
          <p:sp>
            <p:nvSpPr>
              <p:cNvPr id="114" name="Line 302">
                <a:extLst>
                  <a:ext uri="{FF2B5EF4-FFF2-40B4-BE49-F238E27FC236}">
                    <a16:creationId xmlns:a16="http://schemas.microsoft.com/office/drawing/2014/main" id="{13BDA79A-CCD7-49C1-906B-D17D8C51649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769830" y="4073525"/>
                <a:ext cx="0" cy="203200"/>
              </a:xfrm>
              <a:prstGeom prst="line">
                <a:avLst/>
              </a:prstGeom>
              <a:noFill/>
              <a:ln w="30163" cap="rnd">
                <a:gradFill flip="none" rotWithShape="1">
                  <a:gsLst>
                    <a:gs pos="0">
                      <a:schemeClr val="accent4">
                        <a:lumMod val="89000"/>
                      </a:schemeClr>
                    </a:gs>
                    <a:gs pos="23000">
                      <a:schemeClr val="accent4">
                        <a:lumMod val="89000"/>
                      </a:schemeClr>
                    </a:gs>
                    <a:gs pos="69000">
                      <a:schemeClr val="accent4">
                        <a:lumMod val="75000"/>
                      </a:schemeClr>
                    </a:gs>
                    <a:gs pos="97000">
                      <a:schemeClr val="accent4">
                        <a:lumMod val="7000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endParaRPr lang="ru-RU" sz="1400">
                  <a:latin typeface="+mj-lt"/>
                </a:endParaRPr>
              </a:p>
            </p:txBody>
          </p:sp>
          <p:sp>
            <p:nvSpPr>
              <p:cNvPr id="115" name="Oval 303">
                <a:extLst>
                  <a:ext uri="{FF2B5EF4-FFF2-40B4-BE49-F238E27FC236}">
                    <a16:creationId xmlns:a16="http://schemas.microsoft.com/office/drawing/2014/main" id="{F5DDFF55-51F1-429F-92E6-9E958D2BFD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717442" y="4276725"/>
                <a:ext cx="104775" cy="106363"/>
              </a:xfrm>
              <a:prstGeom prst="ellipse">
                <a:avLst/>
              </a:prstGeom>
              <a:noFill/>
              <a:ln w="30163" cap="rnd">
                <a:gradFill flip="none" rotWithShape="1">
                  <a:gsLst>
                    <a:gs pos="0">
                      <a:schemeClr val="accent4">
                        <a:lumMod val="89000"/>
                      </a:schemeClr>
                    </a:gs>
                    <a:gs pos="23000">
                      <a:schemeClr val="accent4">
                        <a:lumMod val="89000"/>
                      </a:schemeClr>
                    </a:gs>
                    <a:gs pos="69000">
                      <a:schemeClr val="accent4">
                        <a:lumMod val="75000"/>
                      </a:schemeClr>
                    </a:gs>
                    <a:gs pos="97000">
                      <a:schemeClr val="accent4">
                        <a:lumMod val="7000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endParaRPr lang="ru-RU" altLang="ru-RU" sz="1400">
                  <a:latin typeface="+mj-lt"/>
                </a:endParaRPr>
              </a:p>
            </p:txBody>
          </p:sp>
        </p:grp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D72EF149-0A73-4D08-A87E-C1C884E49A76}"/>
                </a:ext>
              </a:extLst>
            </p:cNvPr>
            <p:cNvGrpSpPr/>
            <p:nvPr/>
          </p:nvGrpSpPr>
          <p:grpSpPr>
            <a:xfrm>
              <a:off x="5515581" y="3919538"/>
              <a:ext cx="1239838" cy="463550"/>
              <a:chOff x="5515581" y="3919538"/>
              <a:chExt cx="1239838" cy="463550"/>
            </a:xfrm>
          </p:grpSpPr>
          <p:sp>
            <p:nvSpPr>
              <p:cNvPr id="117" name="Freeform 304">
                <a:extLst>
                  <a:ext uri="{FF2B5EF4-FFF2-40B4-BE49-F238E27FC236}">
                    <a16:creationId xmlns:a16="http://schemas.microsoft.com/office/drawing/2014/main" id="{ACB53870-6894-409A-89FF-E92A67425BB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15581" y="3919538"/>
                <a:ext cx="1239838" cy="153988"/>
              </a:xfrm>
              <a:custGeom>
                <a:avLst/>
                <a:gdLst>
                  <a:gd name="T0" fmla="*/ 1239838 w 330"/>
                  <a:gd name="T1" fmla="*/ 0 h 41"/>
                  <a:gd name="T2" fmla="*/ 619919 w 330"/>
                  <a:gd name="T3" fmla="*/ 153988 h 41"/>
                  <a:gd name="T4" fmla="*/ 0 w 330"/>
                  <a:gd name="T5" fmla="*/ 0 h 4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330" h="41">
                    <a:moveTo>
                      <a:pt x="330" y="0"/>
                    </a:moveTo>
                    <a:cubicBezTo>
                      <a:pt x="281" y="26"/>
                      <a:pt x="225" y="41"/>
                      <a:pt x="165" y="41"/>
                    </a:cubicBezTo>
                    <a:cubicBezTo>
                      <a:pt x="105" y="41"/>
                      <a:pt x="49" y="26"/>
                      <a:pt x="0" y="0"/>
                    </a:cubicBezTo>
                  </a:path>
                </a:pathLst>
              </a:custGeom>
              <a:noFill/>
              <a:ln w="30163" cap="rnd">
                <a:gradFill flip="none" rotWithShape="1">
                  <a:gsLst>
                    <a:gs pos="0">
                      <a:schemeClr val="accent3">
                        <a:lumMod val="89000"/>
                      </a:schemeClr>
                    </a:gs>
                    <a:gs pos="23000">
                      <a:schemeClr val="accent3">
                        <a:lumMod val="89000"/>
                      </a:schemeClr>
                    </a:gs>
                    <a:gs pos="69000">
                      <a:schemeClr val="accent3">
                        <a:lumMod val="75000"/>
                      </a:schemeClr>
                    </a:gs>
                    <a:gs pos="97000">
                      <a:schemeClr val="accent3">
                        <a:lumMod val="7000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endParaRPr lang="ru-RU" sz="1400">
                  <a:latin typeface="+mj-lt"/>
                </a:endParaRPr>
              </a:p>
            </p:txBody>
          </p:sp>
          <p:sp>
            <p:nvSpPr>
              <p:cNvPr id="118" name="Line 305">
                <a:extLst>
                  <a:ext uri="{FF2B5EF4-FFF2-40B4-BE49-F238E27FC236}">
                    <a16:creationId xmlns:a16="http://schemas.microsoft.com/office/drawing/2014/main" id="{590DC3E0-8718-4CA3-9039-73939C2EB7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6136293" y="4073525"/>
                <a:ext cx="0" cy="203200"/>
              </a:xfrm>
              <a:prstGeom prst="line">
                <a:avLst/>
              </a:prstGeom>
              <a:noFill/>
              <a:ln w="30163" cap="rnd">
                <a:gradFill flip="none" rotWithShape="1">
                  <a:gsLst>
                    <a:gs pos="0">
                      <a:schemeClr val="accent3">
                        <a:lumMod val="89000"/>
                      </a:schemeClr>
                    </a:gs>
                    <a:gs pos="23000">
                      <a:schemeClr val="accent3">
                        <a:lumMod val="89000"/>
                      </a:schemeClr>
                    </a:gs>
                    <a:gs pos="69000">
                      <a:schemeClr val="accent3">
                        <a:lumMod val="75000"/>
                      </a:schemeClr>
                    </a:gs>
                    <a:gs pos="97000">
                      <a:schemeClr val="accent3">
                        <a:lumMod val="7000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endParaRPr lang="ru-RU" sz="1400">
                  <a:latin typeface="+mj-lt"/>
                </a:endParaRPr>
              </a:p>
            </p:txBody>
          </p:sp>
          <p:sp>
            <p:nvSpPr>
              <p:cNvPr id="119" name="Oval 306">
                <a:extLst>
                  <a:ext uri="{FF2B5EF4-FFF2-40B4-BE49-F238E27FC236}">
                    <a16:creationId xmlns:a16="http://schemas.microsoft.com/office/drawing/2014/main" id="{26FA4FCE-897D-43EB-A5F0-4593C7ABFC0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083906" y="4276725"/>
                <a:ext cx="104775" cy="106363"/>
              </a:xfrm>
              <a:prstGeom prst="ellipse">
                <a:avLst/>
              </a:prstGeom>
              <a:noFill/>
              <a:ln w="30163" cap="rnd">
                <a:gradFill flip="none" rotWithShape="1">
                  <a:gsLst>
                    <a:gs pos="0">
                      <a:schemeClr val="accent3">
                        <a:lumMod val="89000"/>
                      </a:schemeClr>
                    </a:gs>
                    <a:gs pos="23000">
                      <a:schemeClr val="accent3">
                        <a:lumMod val="89000"/>
                      </a:schemeClr>
                    </a:gs>
                    <a:gs pos="69000">
                      <a:schemeClr val="accent3">
                        <a:lumMod val="75000"/>
                      </a:schemeClr>
                    </a:gs>
                    <a:gs pos="97000">
                      <a:schemeClr val="accent3">
                        <a:lumMod val="7000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endParaRPr lang="ru-RU" altLang="ru-RU" sz="1400">
                  <a:latin typeface="+mj-lt"/>
                </a:endParaRPr>
              </a:p>
            </p:txBody>
          </p:sp>
        </p:grpSp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9BDEAEED-ABC8-4380-A3B1-065456C95C65}"/>
                </a:ext>
              </a:extLst>
            </p:cNvPr>
            <p:cNvGrpSpPr/>
            <p:nvPr/>
          </p:nvGrpSpPr>
          <p:grpSpPr>
            <a:xfrm>
              <a:off x="3882043" y="3919538"/>
              <a:ext cx="1239838" cy="463550"/>
              <a:chOff x="3882043" y="3919538"/>
              <a:chExt cx="1239838" cy="463550"/>
            </a:xfrm>
          </p:grpSpPr>
          <p:sp>
            <p:nvSpPr>
              <p:cNvPr id="121" name="Freeform 307">
                <a:extLst>
                  <a:ext uri="{FF2B5EF4-FFF2-40B4-BE49-F238E27FC236}">
                    <a16:creationId xmlns:a16="http://schemas.microsoft.com/office/drawing/2014/main" id="{DBACD449-E6DE-4E03-AF13-356A800814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82043" y="3919538"/>
                <a:ext cx="1239838" cy="153988"/>
              </a:xfrm>
              <a:custGeom>
                <a:avLst/>
                <a:gdLst>
                  <a:gd name="T0" fmla="*/ 1239838 w 330"/>
                  <a:gd name="T1" fmla="*/ 0 h 41"/>
                  <a:gd name="T2" fmla="*/ 619919 w 330"/>
                  <a:gd name="T3" fmla="*/ 153988 h 41"/>
                  <a:gd name="T4" fmla="*/ 0 w 330"/>
                  <a:gd name="T5" fmla="*/ 0 h 4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330" h="41">
                    <a:moveTo>
                      <a:pt x="330" y="0"/>
                    </a:moveTo>
                    <a:cubicBezTo>
                      <a:pt x="281" y="26"/>
                      <a:pt x="225" y="41"/>
                      <a:pt x="165" y="41"/>
                    </a:cubicBezTo>
                    <a:cubicBezTo>
                      <a:pt x="105" y="41"/>
                      <a:pt x="49" y="26"/>
                      <a:pt x="0" y="0"/>
                    </a:cubicBezTo>
                  </a:path>
                </a:pathLst>
              </a:custGeom>
              <a:noFill/>
              <a:ln w="30163" cap="rnd">
                <a:gradFill flip="none" rotWithShape="1">
                  <a:gsLst>
                    <a:gs pos="0">
                      <a:schemeClr val="accent2">
                        <a:lumMod val="89000"/>
                      </a:schemeClr>
                    </a:gs>
                    <a:gs pos="23000">
                      <a:schemeClr val="accent2">
                        <a:lumMod val="89000"/>
                      </a:schemeClr>
                    </a:gs>
                    <a:gs pos="69000">
                      <a:schemeClr val="accent2">
                        <a:lumMod val="75000"/>
                      </a:schemeClr>
                    </a:gs>
                    <a:gs pos="97000">
                      <a:schemeClr val="accent2">
                        <a:lumMod val="7000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endParaRPr lang="ru-RU" sz="1400">
                  <a:latin typeface="+mj-lt"/>
                </a:endParaRPr>
              </a:p>
            </p:txBody>
          </p:sp>
          <p:sp>
            <p:nvSpPr>
              <p:cNvPr id="122" name="Line 308">
                <a:extLst>
                  <a:ext uri="{FF2B5EF4-FFF2-40B4-BE49-F238E27FC236}">
                    <a16:creationId xmlns:a16="http://schemas.microsoft.com/office/drawing/2014/main" id="{80BC4F0C-4B63-4B3F-80E3-6538DB39DA5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4502756" y="4073525"/>
                <a:ext cx="0" cy="203200"/>
              </a:xfrm>
              <a:prstGeom prst="line">
                <a:avLst/>
              </a:prstGeom>
              <a:noFill/>
              <a:ln w="30163" cap="rnd">
                <a:gradFill flip="none" rotWithShape="1">
                  <a:gsLst>
                    <a:gs pos="0">
                      <a:schemeClr val="accent2">
                        <a:lumMod val="89000"/>
                      </a:schemeClr>
                    </a:gs>
                    <a:gs pos="23000">
                      <a:schemeClr val="accent2">
                        <a:lumMod val="89000"/>
                      </a:schemeClr>
                    </a:gs>
                    <a:gs pos="69000">
                      <a:schemeClr val="accent2">
                        <a:lumMod val="75000"/>
                      </a:schemeClr>
                    </a:gs>
                    <a:gs pos="97000">
                      <a:schemeClr val="accent2">
                        <a:lumMod val="7000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endParaRPr lang="ru-RU" sz="1400">
                  <a:latin typeface="+mj-lt"/>
                </a:endParaRPr>
              </a:p>
            </p:txBody>
          </p:sp>
          <p:sp>
            <p:nvSpPr>
              <p:cNvPr id="123" name="Oval 309">
                <a:extLst>
                  <a:ext uri="{FF2B5EF4-FFF2-40B4-BE49-F238E27FC236}">
                    <a16:creationId xmlns:a16="http://schemas.microsoft.com/office/drawing/2014/main" id="{2BBBA8CF-269D-46BE-BE5E-5B67F7DA0FB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50368" y="4276725"/>
                <a:ext cx="104775" cy="106363"/>
              </a:xfrm>
              <a:prstGeom prst="ellipse">
                <a:avLst/>
              </a:prstGeom>
              <a:noFill/>
              <a:ln w="30163" cap="rnd">
                <a:gradFill flip="none" rotWithShape="1">
                  <a:gsLst>
                    <a:gs pos="0">
                      <a:schemeClr val="accent2">
                        <a:lumMod val="89000"/>
                      </a:schemeClr>
                    </a:gs>
                    <a:gs pos="23000">
                      <a:schemeClr val="accent2">
                        <a:lumMod val="89000"/>
                      </a:schemeClr>
                    </a:gs>
                    <a:gs pos="69000">
                      <a:schemeClr val="accent2">
                        <a:lumMod val="75000"/>
                      </a:schemeClr>
                    </a:gs>
                    <a:gs pos="97000">
                      <a:schemeClr val="accent2">
                        <a:lumMod val="7000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endParaRPr lang="ru-RU" altLang="ru-RU" sz="1400">
                  <a:latin typeface="+mj-lt"/>
                </a:endParaRPr>
              </a:p>
            </p:txBody>
          </p:sp>
        </p:grpSp>
        <p:grpSp>
          <p:nvGrpSpPr>
            <p:cNvPr id="124" name="Group 123">
              <a:extLst>
                <a:ext uri="{FF2B5EF4-FFF2-40B4-BE49-F238E27FC236}">
                  <a16:creationId xmlns:a16="http://schemas.microsoft.com/office/drawing/2014/main" id="{225D0D27-7562-424D-925A-E6F0B8363316}"/>
                </a:ext>
              </a:extLst>
            </p:cNvPr>
            <p:cNvGrpSpPr/>
            <p:nvPr/>
          </p:nvGrpSpPr>
          <p:grpSpPr>
            <a:xfrm>
              <a:off x="2250093" y="3919538"/>
              <a:ext cx="1238250" cy="463550"/>
              <a:chOff x="2250093" y="3919538"/>
              <a:chExt cx="1238250" cy="463550"/>
            </a:xfrm>
          </p:grpSpPr>
          <p:sp>
            <p:nvSpPr>
              <p:cNvPr id="125" name="Freeform 310">
                <a:extLst>
                  <a:ext uri="{FF2B5EF4-FFF2-40B4-BE49-F238E27FC236}">
                    <a16:creationId xmlns:a16="http://schemas.microsoft.com/office/drawing/2014/main" id="{2AB7C9D4-AECD-43BD-ADB3-B36F94535C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0093" y="3919538"/>
                <a:ext cx="1238250" cy="153988"/>
              </a:xfrm>
              <a:custGeom>
                <a:avLst/>
                <a:gdLst>
                  <a:gd name="T0" fmla="*/ 1238250 w 330"/>
                  <a:gd name="T1" fmla="*/ 0 h 41"/>
                  <a:gd name="T2" fmla="*/ 619125 w 330"/>
                  <a:gd name="T3" fmla="*/ 153988 h 41"/>
                  <a:gd name="T4" fmla="*/ 0 w 330"/>
                  <a:gd name="T5" fmla="*/ 0 h 41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330" h="41">
                    <a:moveTo>
                      <a:pt x="330" y="0"/>
                    </a:moveTo>
                    <a:cubicBezTo>
                      <a:pt x="281" y="26"/>
                      <a:pt x="225" y="41"/>
                      <a:pt x="165" y="41"/>
                    </a:cubicBezTo>
                    <a:cubicBezTo>
                      <a:pt x="106" y="41"/>
                      <a:pt x="50" y="26"/>
                      <a:pt x="0" y="0"/>
                    </a:cubicBezTo>
                  </a:path>
                </a:pathLst>
              </a:custGeom>
              <a:noFill/>
              <a:ln w="30163" cap="rnd">
                <a:gradFill flip="none" rotWithShape="1">
                  <a:gsLst>
                    <a:gs pos="0">
                      <a:schemeClr val="accent1">
                        <a:lumMod val="89000"/>
                      </a:schemeClr>
                    </a:gs>
                    <a:gs pos="23000">
                      <a:schemeClr val="accent1">
                        <a:lumMod val="89000"/>
                      </a:schemeClr>
                    </a:gs>
                    <a:gs pos="69000">
                      <a:schemeClr val="accent1">
                        <a:lumMod val="75000"/>
                      </a:schemeClr>
                    </a:gs>
                    <a:gs pos="97000">
                      <a:schemeClr val="accent1">
                        <a:lumMod val="7000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endParaRPr lang="ru-RU" sz="1400">
                  <a:latin typeface="+mj-lt"/>
                </a:endParaRPr>
              </a:p>
            </p:txBody>
          </p:sp>
          <p:sp>
            <p:nvSpPr>
              <p:cNvPr id="126" name="Line 311">
                <a:extLst>
                  <a:ext uri="{FF2B5EF4-FFF2-40B4-BE49-F238E27FC236}">
                    <a16:creationId xmlns:a16="http://schemas.microsoft.com/office/drawing/2014/main" id="{6F9084FA-6E86-4D05-BD09-EEED0CE7E50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2869218" y="4073525"/>
                <a:ext cx="0" cy="203200"/>
              </a:xfrm>
              <a:prstGeom prst="line">
                <a:avLst/>
              </a:prstGeom>
              <a:noFill/>
              <a:ln w="30163" cap="rnd">
                <a:gradFill flip="none" rotWithShape="1">
                  <a:gsLst>
                    <a:gs pos="0">
                      <a:schemeClr val="accent1">
                        <a:lumMod val="89000"/>
                      </a:schemeClr>
                    </a:gs>
                    <a:gs pos="23000">
                      <a:schemeClr val="accent1">
                        <a:lumMod val="89000"/>
                      </a:schemeClr>
                    </a:gs>
                    <a:gs pos="69000">
                      <a:schemeClr val="accent1">
                        <a:lumMod val="75000"/>
                      </a:schemeClr>
                    </a:gs>
                    <a:gs pos="97000">
                      <a:schemeClr val="accent1">
                        <a:lumMod val="7000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  <p:txBody>
              <a:bodyPr anchor="ctr"/>
              <a:lstStyle/>
              <a:p>
                <a:endParaRPr lang="ru-RU" sz="1400">
                  <a:latin typeface="+mj-lt"/>
                </a:endParaRPr>
              </a:p>
            </p:txBody>
          </p:sp>
          <p:sp>
            <p:nvSpPr>
              <p:cNvPr id="127" name="Oval 312">
                <a:extLst>
                  <a:ext uri="{FF2B5EF4-FFF2-40B4-BE49-F238E27FC236}">
                    <a16:creationId xmlns:a16="http://schemas.microsoft.com/office/drawing/2014/main" id="{EF430A6D-81C4-4559-A1B8-D81EA2307EE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16831" y="4276725"/>
                <a:ext cx="104775" cy="106363"/>
              </a:xfrm>
              <a:prstGeom prst="ellipse">
                <a:avLst/>
              </a:prstGeom>
              <a:noFill/>
              <a:ln w="30163" cap="rnd">
                <a:gradFill flip="none" rotWithShape="1">
                  <a:gsLst>
                    <a:gs pos="0">
                      <a:schemeClr val="accent1">
                        <a:lumMod val="89000"/>
                      </a:schemeClr>
                    </a:gs>
                    <a:gs pos="23000">
                      <a:schemeClr val="accent1">
                        <a:lumMod val="89000"/>
                      </a:schemeClr>
                    </a:gs>
                    <a:gs pos="69000">
                      <a:schemeClr val="accent1">
                        <a:lumMod val="75000"/>
                      </a:schemeClr>
                    </a:gs>
                    <a:gs pos="97000">
                      <a:schemeClr val="accent1">
                        <a:lumMod val="70000"/>
                      </a:schemeClr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eaLnBrk="1" hangingPunct="1"/>
                <a:endParaRPr lang="ru-RU" altLang="ru-RU" sz="1400">
                  <a:latin typeface="+mj-lt"/>
                </a:endParaRPr>
              </a:p>
            </p:txBody>
          </p:sp>
        </p:grpSp>
        <p:grpSp>
          <p:nvGrpSpPr>
            <p:cNvPr id="128" name="Group 127">
              <a:extLst>
                <a:ext uri="{FF2B5EF4-FFF2-40B4-BE49-F238E27FC236}">
                  <a16:creationId xmlns:a16="http://schemas.microsoft.com/office/drawing/2014/main" id="{4DAFAFDA-BC84-44DA-87BE-40E9B158F6CB}"/>
                </a:ext>
              </a:extLst>
            </p:cNvPr>
            <p:cNvGrpSpPr/>
            <p:nvPr/>
          </p:nvGrpSpPr>
          <p:grpSpPr>
            <a:xfrm>
              <a:off x="1761143" y="1651000"/>
              <a:ext cx="2216150" cy="2219325"/>
              <a:chOff x="1761143" y="1651000"/>
              <a:chExt cx="2216150" cy="2219325"/>
            </a:xfrm>
          </p:grpSpPr>
          <p:sp>
            <p:nvSpPr>
              <p:cNvPr id="129" name="Freeform 287">
                <a:extLst>
                  <a:ext uri="{FF2B5EF4-FFF2-40B4-BE49-F238E27FC236}">
                    <a16:creationId xmlns:a16="http://schemas.microsoft.com/office/drawing/2014/main" id="{481D6C5C-C25A-4651-B905-84B75E1498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1143" y="1651000"/>
                <a:ext cx="2216150" cy="2219325"/>
              </a:xfrm>
              <a:custGeom>
                <a:avLst/>
                <a:gdLst>
                  <a:gd name="T0" fmla="*/ 1108075 w 590"/>
                  <a:gd name="T1" fmla="*/ 2019962 h 590"/>
                  <a:gd name="T2" fmla="*/ 199078 w 590"/>
                  <a:gd name="T3" fmla="*/ 1109663 h 590"/>
                  <a:gd name="T4" fmla="*/ 1108075 w 590"/>
                  <a:gd name="T5" fmla="*/ 199363 h 590"/>
                  <a:gd name="T6" fmla="*/ 2017072 w 590"/>
                  <a:gd name="T7" fmla="*/ 1109663 h 590"/>
                  <a:gd name="T8" fmla="*/ 1949461 w 590"/>
                  <a:gd name="T9" fmla="*/ 1455727 h 590"/>
                  <a:gd name="T10" fmla="*/ 2073415 w 590"/>
                  <a:gd name="T11" fmla="*/ 1658851 h 590"/>
                  <a:gd name="T12" fmla="*/ 2216150 w 590"/>
                  <a:gd name="T13" fmla="*/ 1109663 h 590"/>
                  <a:gd name="T14" fmla="*/ 1108075 w 590"/>
                  <a:gd name="T15" fmla="*/ 0 h 590"/>
                  <a:gd name="T16" fmla="*/ 0 w 590"/>
                  <a:gd name="T17" fmla="*/ 1109663 h 590"/>
                  <a:gd name="T18" fmla="*/ 1108075 w 590"/>
                  <a:gd name="T19" fmla="*/ 2219325 h 590"/>
                  <a:gd name="T20" fmla="*/ 1885606 w 590"/>
                  <a:gd name="T21" fmla="*/ 1899592 h 590"/>
                  <a:gd name="T22" fmla="*/ 1761651 w 590"/>
                  <a:gd name="T23" fmla="*/ 1741606 h 590"/>
                  <a:gd name="T24" fmla="*/ 1108075 w 590"/>
                  <a:gd name="T25" fmla="*/ 2019962 h 59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90" h="590">
                    <a:moveTo>
                      <a:pt x="295" y="537"/>
                    </a:moveTo>
                    <a:cubicBezTo>
                      <a:pt x="161" y="537"/>
                      <a:pt x="53" y="429"/>
                      <a:pt x="53" y="295"/>
                    </a:cubicBezTo>
                    <a:cubicBezTo>
                      <a:pt x="53" y="161"/>
                      <a:pt x="161" y="53"/>
                      <a:pt x="295" y="53"/>
                    </a:cubicBezTo>
                    <a:cubicBezTo>
                      <a:pt x="429" y="53"/>
                      <a:pt x="537" y="161"/>
                      <a:pt x="537" y="295"/>
                    </a:cubicBezTo>
                    <a:cubicBezTo>
                      <a:pt x="537" y="328"/>
                      <a:pt x="531" y="359"/>
                      <a:pt x="519" y="387"/>
                    </a:cubicBezTo>
                    <a:cubicBezTo>
                      <a:pt x="527" y="407"/>
                      <a:pt x="539" y="424"/>
                      <a:pt x="552" y="441"/>
                    </a:cubicBezTo>
                    <a:cubicBezTo>
                      <a:pt x="576" y="398"/>
                      <a:pt x="590" y="348"/>
                      <a:pt x="590" y="295"/>
                    </a:cubicBezTo>
                    <a:cubicBezTo>
                      <a:pt x="590" y="132"/>
                      <a:pt x="458" y="0"/>
                      <a:pt x="295" y="0"/>
                    </a:cubicBezTo>
                    <a:cubicBezTo>
                      <a:pt x="132" y="0"/>
                      <a:pt x="0" y="132"/>
                      <a:pt x="0" y="295"/>
                    </a:cubicBezTo>
                    <a:cubicBezTo>
                      <a:pt x="0" y="458"/>
                      <a:pt x="132" y="590"/>
                      <a:pt x="295" y="590"/>
                    </a:cubicBezTo>
                    <a:cubicBezTo>
                      <a:pt x="376" y="590"/>
                      <a:pt x="449" y="558"/>
                      <a:pt x="502" y="505"/>
                    </a:cubicBezTo>
                    <a:cubicBezTo>
                      <a:pt x="490" y="492"/>
                      <a:pt x="479" y="478"/>
                      <a:pt x="469" y="463"/>
                    </a:cubicBezTo>
                    <a:cubicBezTo>
                      <a:pt x="425" y="509"/>
                      <a:pt x="363" y="537"/>
                      <a:pt x="295" y="537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1">
                      <a:lumMod val="89000"/>
                    </a:schemeClr>
                  </a:gs>
                  <a:gs pos="23000">
                    <a:schemeClr val="accent1">
                      <a:lumMod val="89000"/>
                    </a:schemeClr>
                  </a:gs>
                  <a:gs pos="69000">
                    <a:schemeClr val="accent1">
                      <a:lumMod val="75000"/>
                    </a:schemeClr>
                  </a:gs>
                  <a:gs pos="97000">
                    <a:schemeClr val="accent1">
                      <a:lumMod val="7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anchor="ctr"/>
              <a:lstStyle/>
              <a:p>
                <a:endParaRPr lang="ru-RU" sz="1400">
                  <a:latin typeface="+mj-lt"/>
                </a:endParaRPr>
              </a:p>
            </p:txBody>
          </p:sp>
          <p:sp>
            <p:nvSpPr>
              <p:cNvPr id="130" name="TextBox 129">
                <a:extLst>
                  <a:ext uri="{FF2B5EF4-FFF2-40B4-BE49-F238E27FC236}">
                    <a16:creationId xmlns:a16="http://schemas.microsoft.com/office/drawing/2014/main" id="{7B29DD27-75C7-492C-AB2D-E696E2F2AF0B}"/>
                  </a:ext>
                </a:extLst>
              </p:cNvPr>
              <p:cNvSpPr txBox="1"/>
              <p:nvPr/>
            </p:nvSpPr>
            <p:spPr>
              <a:xfrm>
                <a:off x="2539640" y="2325270"/>
                <a:ext cx="659155" cy="923330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/>
                <a:r>
                  <a:rPr lang="en-US" sz="5400" dirty="0">
                    <a:gradFill flip="none" rotWithShape="1">
                      <a:gsLst>
                        <a:gs pos="0">
                          <a:schemeClr val="accent1">
                            <a:lumMod val="89000"/>
                          </a:schemeClr>
                        </a:gs>
                        <a:gs pos="23000">
                          <a:schemeClr val="accent1">
                            <a:lumMod val="89000"/>
                          </a:schemeClr>
                        </a:gs>
                        <a:gs pos="69000">
                          <a:schemeClr val="accent1">
                            <a:lumMod val="75000"/>
                          </a:schemeClr>
                        </a:gs>
                        <a:gs pos="97000">
                          <a:schemeClr val="accent1">
                            <a:lumMod val="70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  <a:latin typeface="+mj-lt"/>
                    <a:ea typeface="Roboto Black" panose="02000000000000000000" pitchFamily="2" charset="0"/>
                  </a:rPr>
                  <a:t>A</a:t>
                </a:r>
              </a:p>
            </p:txBody>
          </p:sp>
        </p:grpSp>
        <p:grpSp>
          <p:nvGrpSpPr>
            <p:cNvPr id="131" name="Group 130">
              <a:extLst>
                <a:ext uri="{FF2B5EF4-FFF2-40B4-BE49-F238E27FC236}">
                  <a16:creationId xmlns:a16="http://schemas.microsoft.com/office/drawing/2014/main" id="{F4C4419F-6288-439C-A0CE-978EA5F42BB9}"/>
                </a:ext>
              </a:extLst>
            </p:cNvPr>
            <p:cNvGrpSpPr/>
            <p:nvPr/>
          </p:nvGrpSpPr>
          <p:grpSpPr>
            <a:xfrm>
              <a:off x="3394680" y="1651000"/>
              <a:ext cx="2216151" cy="2219325"/>
              <a:chOff x="3394680" y="1651000"/>
              <a:chExt cx="2216151" cy="2219325"/>
            </a:xfrm>
          </p:grpSpPr>
          <p:sp>
            <p:nvSpPr>
              <p:cNvPr id="132" name="Freeform 285">
                <a:extLst>
                  <a:ext uri="{FF2B5EF4-FFF2-40B4-BE49-F238E27FC236}">
                    <a16:creationId xmlns:a16="http://schemas.microsoft.com/office/drawing/2014/main" id="{56F1D5A2-D9ED-4460-A150-E0E6C92DDC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4680" y="2211388"/>
                <a:ext cx="1884363" cy="1658937"/>
              </a:xfrm>
              <a:custGeom>
                <a:avLst/>
                <a:gdLst>
                  <a:gd name="T0" fmla="*/ 1764244 w 502"/>
                  <a:gd name="T1" fmla="*/ 1181194 h 441"/>
                  <a:gd name="T2" fmla="*/ 1884363 w 502"/>
                  <a:gd name="T3" fmla="*/ 1339188 h 441"/>
                  <a:gd name="T4" fmla="*/ 1107345 w 502"/>
                  <a:gd name="T5" fmla="*/ 1658938 h 441"/>
                  <a:gd name="T6" fmla="*/ 0 w 502"/>
                  <a:gd name="T7" fmla="*/ 549218 h 441"/>
                  <a:gd name="T8" fmla="*/ 142641 w 502"/>
                  <a:gd name="T9" fmla="*/ 0 h 441"/>
                  <a:gd name="T10" fmla="*/ 266513 w 502"/>
                  <a:gd name="T11" fmla="*/ 203135 h 441"/>
                  <a:gd name="T12" fmla="*/ 198947 w 502"/>
                  <a:gd name="T13" fmla="*/ 549218 h 441"/>
                  <a:gd name="T14" fmla="*/ 1107345 w 502"/>
                  <a:gd name="T15" fmla="*/ 1459564 h 441"/>
                  <a:gd name="T16" fmla="*/ 1764244 w 502"/>
                  <a:gd name="T17" fmla="*/ 1181194 h 44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02" h="441">
                    <a:moveTo>
                      <a:pt x="470" y="314"/>
                    </a:moveTo>
                    <a:cubicBezTo>
                      <a:pt x="479" y="329"/>
                      <a:pt x="490" y="343"/>
                      <a:pt x="502" y="356"/>
                    </a:cubicBezTo>
                    <a:cubicBezTo>
                      <a:pt x="449" y="409"/>
                      <a:pt x="376" y="441"/>
                      <a:pt x="295" y="441"/>
                    </a:cubicBezTo>
                    <a:cubicBezTo>
                      <a:pt x="132" y="441"/>
                      <a:pt x="0" y="309"/>
                      <a:pt x="0" y="146"/>
                    </a:cubicBezTo>
                    <a:cubicBezTo>
                      <a:pt x="0" y="93"/>
                      <a:pt x="14" y="43"/>
                      <a:pt x="38" y="0"/>
                    </a:cubicBezTo>
                    <a:cubicBezTo>
                      <a:pt x="51" y="17"/>
                      <a:pt x="62" y="35"/>
                      <a:pt x="71" y="54"/>
                    </a:cubicBezTo>
                    <a:cubicBezTo>
                      <a:pt x="59" y="82"/>
                      <a:pt x="53" y="113"/>
                      <a:pt x="53" y="146"/>
                    </a:cubicBezTo>
                    <a:cubicBezTo>
                      <a:pt x="53" y="280"/>
                      <a:pt x="161" y="388"/>
                      <a:pt x="295" y="388"/>
                    </a:cubicBezTo>
                    <a:cubicBezTo>
                      <a:pt x="363" y="388"/>
                      <a:pt x="425" y="360"/>
                      <a:pt x="470" y="31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89000"/>
                    </a:schemeClr>
                  </a:gs>
                  <a:gs pos="23000">
                    <a:schemeClr val="accent2">
                      <a:lumMod val="89000"/>
                    </a:schemeClr>
                  </a:gs>
                  <a:gs pos="69000">
                    <a:schemeClr val="accent2">
                      <a:lumMod val="75000"/>
                    </a:schemeClr>
                  </a:gs>
                  <a:gs pos="97000">
                    <a:schemeClr val="accent2">
                      <a:lumMod val="7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anchor="ctr"/>
              <a:lstStyle/>
              <a:p>
                <a:endParaRPr lang="ru-RU" sz="1400">
                  <a:latin typeface="+mj-lt"/>
                </a:endParaRPr>
              </a:p>
            </p:txBody>
          </p:sp>
          <p:sp>
            <p:nvSpPr>
              <p:cNvPr id="133" name="Freeform 286">
                <a:extLst>
                  <a:ext uri="{FF2B5EF4-FFF2-40B4-BE49-F238E27FC236}">
                    <a16:creationId xmlns:a16="http://schemas.microsoft.com/office/drawing/2014/main" id="{40FCA44B-311C-4490-9272-DFDC8694D3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24881" y="1651000"/>
                <a:ext cx="1885950" cy="1658938"/>
              </a:xfrm>
              <a:custGeom>
                <a:avLst/>
                <a:gdLst>
                  <a:gd name="T0" fmla="*/ 1885950 w 502"/>
                  <a:gd name="T1" fmla="*/ 1109720 h 441"/>
                  <a:gd name="T2" fmla="*/ 1743189 w 502"/>
                  <a:gd name="T3" fmla="*/ 1658938 h 441"/>
                  <a:gd name="T4" fmla="*/ 1619212 w 502"/>
                  <a:gd name="T5" fmla="*/ 1455803 h 441"/>
                  <a:gd name="T6" fmla="*/ 1686836 w 502"/>
                  <a:gd name="T7" fmla="*/ 1109720 h 441"/>
                  <a:gd name="T8" fmla="*/ 777673 w 502"/>
                  <a:gd name="T9" fmla="*/ 199374 h 441"/>
                  <a:gd name="T10" fmla="*/ 120220 w 502"/>
                  <a:gd name="T11" fmla="*/ 477744 h 441"/>
                  <a:gd name="T12" fmla="*/ 0 w 502"/>
                  <a:gd name="T13" fmla="*/ 319750 h 441"/>
                  <a:gd name="T14" fmla="*/ 777673 w 502"/>
                  <a:gd name="T15" fmla="*/ 0 h 441"/>
                  <a:gd name="T16" fmla="*/ 1885950 w 502"/>
                  <a:gd name="T17" fmla="*/ 1109720 h 44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02" h="441">
                    <a:moveTo>
                      <a:pt x="502" y="295"/>
                    </a:moveTo>
                    <a:cubicBezTo>
                      <a:pt x="502" y="348"/>
                      <a:pt x="488" y="398"/>
                      <a:pt x="464" y="441"/>
                    </a:cubicBezTo>
                    <a:cubicBezTo>
                      <a:pt x="451" y="424"/>
                      <a:pt x="440" y="406"/>
                      <a:pt x="431" y="387"/>
                    </a:cubicBezTo>
                    <a:cubicBezTo>
                      <a:pt x="443" y="359"/>
                      <a:pt x="449" y="328"/>
                      <a:pt x="449" y="295"/>
                    </a:cubicBezTo>
                    <a:cubicBezTo>
                      <a:pt x="449" y="161"/>
                      <a:pt x="341" y="53"/>
                      <a:pt x="207" y="53"/>
                    </a:cubicBezTo>
                    <a:cubicBezTo>
                      <a:pt x="138" y="53"/>
                      <a:pt x="77" y="81"/>
                      <a:pt x="32" y="127"/>
                    </a:cubicBezTo>
                    <a:cubicBezTo>
                      <a:pt x="23" y="112"/>
                      <a:pt x="12" y="98"/>
                      <a:pt x="0" y="85"/>
                    </a:cubicBezTo>
                    <a:cubicBezTo>
                      <a:pt x="53" y="32"/>
                      <a:pt x="126" y="0"/>
                      <a:pt x="207" y="0"/>
                    </a:cubicBezTo>
                    <a:cubicBezTo>
                      <a:pt x="370" y="0"/>
                      <a:pt x="502" y="132"/>
                      <a:pt x="502" y="29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2">
                      <a:lumMod val="89000"/>
                    </a:schemeClr>
                  </a:gs>
                  <a:gs pos="23000">
                    <a:schemeClr val="accent2">
                      <a:lumMod val="89000"/>
                    </a:schemeClr>
                  </a:gs>
                  <a:gs pos="69000">
                    <a:schemeClr val="accent2">
                      <a:lumMod val="75000"/>
                    </a:schemeClr>
                  </a:gs>
                  <a:gs pos="97000">
                    <a:schemeClr val="accent2">
                      <a:lumMod val="7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anchor="ctr"/>
              <a:lstStyle/>
              <a:p>
                <a:endParaRPr lang="ru-RU" sz="1400">
                  <a:latin typeface="+mj-lt"/>
                </a:endParaRPr>
              </a:p>
            </p:txBody>
          </p:sp>
          <p:sp>
            <p:nvSpPr>
              <p:cNvPr id="134" name="TextBox 133">
                <a:extLst>
                  <a:ext uri="{FF2B5EF4-FFF2-40B4-BE49-F238E27FC236}">
                    <a16:creationId xmlns:a16="http://schemas.microsoft.com/office/drawing/2014/main" id="{F8B28B61-80FF-4EC4-93CE-2C67838FC821}"/>
                  </a:ext>
                </a:extLst>
              </p:cNvPr>
              <p:cNvSpPr txBox="1"/>
              <p:nvPr/>
            </p:nvSpPr>
            <p:spPr>
              <a:xfrm>
                <a:off x="4163558" y="2325270"/>
                <a:ext cx="708848" cy="923330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/>
                <a:r>
                  <a:rPr lang="en-US" sz="5400" dirty="0">
                    <a:gradFill flip="none" rotWithShape="1">
                      <a:gsLst>
                        <a:gs pos="0">
                          <a:schemeClr val="accent2">
                            <a:lumMod val="89000"/>
                          </a:schemeClr>
                        </a:gs>
                        <a:gs pos="23000">
                          <a:schemeClr val="accent2">
                            <a:lumMod val="89000"/>
                          </a:schemeClr>
                        </a:gs>
                        <a:gs pos="69000">
                          <a:schemeClr val="accent2">
                            <a:lumMod val="75000"/>
                          </a:schemeClr>
                        </a:gs>
                        <a:gs pos="97000">
                          <a:schemeClr val="accent2">
                            <a:lumMod val="70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  <a:latin typeface="+mj-lt"/>
                    <a:ea typeface="Roboto Black" panose="02000000000000000000" pitchFamily="2" charset="0"/>
                  </a:rPr>
                  <a:t>D</a:t>
                </a:r>
              </a:p>
            </p:txBody>
          </p:sp>
        </p:grpSp>
        <p:grpSp>
          <p:nvGrpSpPr>
            <p:cNvPr id="135" name="Group 134">
              <a:extLst>
                <a:ext uri="{FF2B5EF4-FFF2-40B4-BE49-F238E27FC236}">
                  <a16:creationId xmlns:a16="http://schemas.microsoft.com/office/drawing/2014/main" id="{18D982CD-9300-4892-8D0C-888FF3E7A156}"/>
                </a:ext>
              </a:extLst>
            </p:cNvPr>
            <p:cNvGrpSpPr/>
            <p:nvPr/>
          </p:nvGrpSpPr>
          <p:grpSpPr>
            <a:xfrm>
              <a:off x="5028218" y="1651000"/>
              <a:ext cx="2216150" cy="2219325"/>
              <a:chOff x="5028218" y="1651000"/>
              <a:chExt cx="2216150" cy="2219325"/>
            </a:xfrm>
          </p:grpSpPr>
          <p:sp>
            <p:nvSpPr>
              <p:cNvPr id="136" name="Freeform 284">
                <a:extLst>
                  <a:ext uri="{FF2B5EF4-FFF2-40B4-BE49-F238E27FC236}">
                    <a16:creationId xmlns:a16="http://schemas.microsoft.com/office/drawing/2014/main" id="{A23A7529-94EC-40BF-B578-F2841B0F86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28218" y="1651000"/>
                <a:ext cx="2216150" cy="2219325"/>
              </a:xfrm>
              <a:custGeom>
                <a:avLst/>
                <a:gdLst>
                  <a:gd name="T0" fmla="*/ 1108075 w 590"/>
                  <a:gd name="T1" fmla="*/ 0 h 590"/>
                  <a:gd name="T2" fmla="*/ 330544 w 590"/>
                  <a:gd name="T3" fmla="*/ 319733 h 590"/>
                  <a:gd name="T4" fmla="*/ 454499 w 590"/>
                  <a:gd name="T5" fmla="*/ 477719 h 590"/>
                  <a:gd name="T6" fmla="*/ 1108075 w 590"/>
                  <a:gd name="T7" fmla="*/ 199363 h 590"/>
                  <a:gd name="T8" fmla="*/ 2017072 w 590"/>
                  <a:gd name="T9" fmla="*/ 1109663 h 590"/>
                  <a:gd name="T10" fmla="*/ 1108075 w 590"/>
                  <a:gd name="T11" fmla="*/ 2019962 h 590"/>
                  <a:gd name="T12" fmla="*/ 199078 w 590"/>
                  <a:gd name="T13" fmla="*/ 1109663 h 590"/>
                  <a:gd name="T14" fmla="*/ 266689 w 590"/>
                  <a:gd name="T15" fmla="*/ 759837 h 590"/>
                  <a:gd name="T16" fmla="*/ 142735 w 590"/>
                  <a:gd name="T17" fmla="*/ 560474 h 590"/>
                  <a:gd name="T18" fmla="*/ 0 w 590"/>
                  <a:gd name="T19" fmla="*/ 1109663 h 590"/>
                  <a:gd name="T20" fmla="*/ 1108075 w 590"/>
                  <a:gd name="T21" fmla="*/ 2219325 h 590"/>
                  <a:gd name="T22" fmla="*/ 2216150 w 590"/>
                  <a:gd name="T23" fmla="*/ 1109663 h 590"/>
                  <a:gd name="T24" fmla="*/ 1108075 w 590"/>
                  <a:gd name="T25" fmla="*/ 0 h 59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90" h="590">
                    <a:moveTo>
                      <a:pt x="295" y="0"/>
                    </a:moveTo>
                    <a:cubicBezTo>
                      <a:pt x="214" y="0"/>
                      <a:pt x="141" y="32"/>
                      <a:pt x="88" y="85"/>
                    </a:cubicBezTo>
                    <a:cubicBezTo>
                      <a:pt x="100" y="98"/>
                      <a:pt x="111" y="112"/>
                      <a:pt x="121" y="127"/>
                    </a:cubicBezTo>
                    <a:cubicBezTo>
                      <a:pt x="165" y="81"/>
                      <a:pt x="227" y="53"/>
                      <a:pt x="295" y="53"/>
                    </a:cubicBezTo>
                    <a:cubicBezTo>
                      <a:pt x="429" y="53"/>
                      <a:pt x="537" y="161"/>
                      <a:pt x="537" y="295"/>
                    </a:cubicBezTo>
                    <a:cubicBezTo>
                      <a:pt x="537" y="429"/>
                      <a:pt x="429" y="537"/>
                      <a:pt x="295" y="537"/>
                    </a:cubicBezTo>
                    <a:cubicBezTo>
                      <a:pt x="161" y="537"/>
                      <a:pt x="53" y="429"/>
                      <a:pt x="53" y="295"/>
                    </a:cubicBezTo>
                    <a:cubicBezTo>
                      <a:pt x="53" y="262"/>
                      <a:pt x="59" y="231"/>
                      <a:pt x="71" y="202"/>
                    </a:cubicBezTo>
                    <a:cubicBezTo>
                      <a:pt x="62" y="183"/>
                      <a:pt x="51" y="165"/>
                      <a:pt x="38" y="149"/>
                    </a:cubicBezTo>
                    <a:cubicBezTo>
                      <a:pt x="14" y="192"/>
                      <a:pt x="0" y="242"/>
                      <a:pt x="0" y="295"/>
                    </a:cubicBezTo>
                    <a:cubicBezTo>
                      <a:pt x="0" y="458"/>
                      <a:pt x="132" y="590"/>
                      <a:pt x="295" y="590"/>
                    </a:cubicBezTo>
                    <a:cubicBezTo>
                      <a:pt x="458" y="590"/>
                      <a:pt x="590" y="458"/>
                      <a:pt x="590" y="295"/>
                    </a:cubicBezTo>
                    <a:cubicBezTo>
                      <a:pt x="590" y="132"/>
                      <a:pt x="458" y="0"/>
                      <a:pt x="29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3">
                      <a:lumMod val="89000"/>
                    </a:schemeClr>
                  </a:gs>
                  <a:gs pos="23000">
                    <a:schemeClr val="accent3">
                      <a:lumMod val="89000"/>
                    </a:schemeClr>
                  </a:gs>
                  <a:gs pos="69000">
                    <a:schemeClr val="accent3">
                      <a:lumMod val="75000"/>
                    </a:schemeClr>
                  </a:gs>
                  <a:gs pos="97000">
                    <a:schemeClr val="accent3">
                      <a:lumMod val="7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anchor="ctr"/>
              <a:lstStyle/>
              <a:p>
                <a:endParaRPr lang="ru-RU" sz="1400">
                  <a:latin typeface="+mj-lt"/>
                </a:endParaRPr>
              </a:p>
            </p:txBody>
          </p:sp>
          <p:sp>
            <p:nvSpPr>
              <p:cNvPr id="137" name="TextBox 136">
                <a:extLst>
                  <a:ext uri="{FF2B5EF4-FFF2-40B4-BE49-F238E27FC236}">
                    <a16:creationId xmlns:a16="http://schemas.microsoft.com/office/drawing/2014/main" id="{0D3A4491-043D-403C-A7A8-88609A5ED1E3}"/>
                  </a:ext>
                </a:extLst>
              </p:cNvPr>
              <p:cNvSpPr txBox="1"/>
              <p:nvPr/>
            </p:nvSpPr>
            <p:spPr>
              <a:xfrm>
                <a:off x="5802707" y="2325270"/>
                <a:ext cx="667170" cy="923330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/>
                <a:r>
                  <a:rPr lang="en-US" sz="5400" dirty="0">
                    <a:gradFill flip="none" rotWithShape="1">
                      <a:gsLst>
                        <a:gs pos="0">
                          <a:schemeClr val="accent3">
                            <a:lumMod val="89000"/>
                          </a:schemeClr>
                        </a:gs>
                        <a:gs pos="23000">
                          <a:schemeClr val="accent3">
                            <a:lumMod val="89000"/>
                          </a:schemeClr>
                        </a:gs>
                        <a:gs pos="69000">
                          <a:schemeClr val="accent3">
                            <a:lumMod val="75000"/>
                          </a:schemeClr>
                        </a:gs>
                        <a:gs pos="97000">
                          <a:schemeClr val="accent3">
                            <a:lumMod val="70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  <a:latin typeface="+mj-lt"/>
                    <a:ea typeface="Roboto Black" panose="02000000000000000000" pitchFamily="2" charset="0"/>
                  </a:rPr>
                  <a:t>K</a:t>
                </a:r>
              </a:p>
            </p:txBody>
          </p:sp>
        </p:grpSp>
        <p:grpSp>
          <p:nvGrpSpPr>
            <p:cNvPr id="138" name="Group 137">
              <a:extLst>
                <a:ext uri="{FF2B5EF4-FFF2-40B4-BE49-F238E27FC236}">
                  <a16:creationId xmlns:a16="http://schemas.microsoft.com/office/drawing/2014/main" id="{9175C8B8-C782-4CCB-A738-2B1CEBC7A917}"/>
                </a:ext>
              </a:extLst>
            </p:cNvPr>
            <p:cNvGrpSpPr/>
            <p:nvPr/>
          </p:nvGrpSpPr>
          <p:grpSpPr>
            <a:xfrm>
              <a:off x="6661755" y="1651000"/>
              <a:ext cx="2216150" cy="2219325"/>
              <a:chOff x="6661755" y="1651000"/>
              <a:chExt cx="2216150" cy="2219325"/>
            </a:xfrm>
          </p:grpSpPr>
          <p:sp>
            <p:nvSpPr>
              <p:cNvPr id="139" name="Freeform 282">
                <a:extLst>
                  <a:ext uri="{FF2B5EF4-FFF2-40B4-BE49-F238E27FC236}">
                    <a16:creationId xmlns:a16="http://schemas.microsoft.com/office/drawing/2014/main" id="{3E0EC667-5141-4300-8C90-BBF352C8AF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61755" y="2211388"/>
                <a:ext cx="1884363" cy="1658937"/>
              </a:xfrm>
              <a:custGeom>
                <a:avLst/>
                <a:gdLst>
                  <a:gd name="T0" fmla="*/ 1764244 w 502"/>
                  <a:gd name="T1" fmla="*/ 1181194 h 441"/>
                  <a:gd name="T2" fmla="*/ 1884363 w 502"/>
                  <a:gd name="T3" fmla="*/ 1339188 h 441"/>
                  <a:gd name="T4" fmla="*/ 1107345 w 502"/>
                  <a:gd name="T5" fmla="*/ 1658938 h 441"/>
                  <a:gd name="T6" fmla="*/ 0 w 502"/>
                  <a:gd name="T7" fmla="*/ 549218 h 441"/>
                  <a:gd name="T8" fmla="*/ 142641 w 502"/>
                  <a:gd name="T9" fmla="*/ 0 h 441"/>
                  <a:gd name="T10" fmla="*/ 266513 w 502"/>
                  <a:gd name="T11" fmla="*/ 203135 h 441"/>
                  <a:gd name="T12" fmla="*/ 198947 w 502"/>
                  <a:gd name="T13" fmla="*/ 549218 h 441"/>
                  <a:gd name="T14" fmla="*/ 1107345 w 502"/>
                  <a:gd name="T15" fmla="*/ 1459564 h 441"/>
                  <a:gd name="T16" fmla="*/ 1764244 w 502"/>
                  <a:gd name="T17" fmla="*/ 1181194 h 44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02" h="441">
                    <a:moveTo>
                      <a:pt x="470" y="314"/>
                    </a:moveTo>
                    <a:cubicBezTo>
                      <a:pt x="479" y="329"/>
                      <a:pt x="490" y="343"/>
                      <a:pt x="502" y="356"/>
                    </a:cubicBezTo>
                    <a:cubicBezTo>
                      <a:pt x="449" y="409"/>
                      <a:pt x="376" y="441"/>
                      <a:pt x="295" y="441"/>
                    </a:cubicBezTo>
                    <a:cubicBezTo>
                      <a:pt x="132" y="441"/>
                      <a:pt x="0" y="309"/>
                      <a:pt x="0" y="146"/>
                    </a:cubicBezTo>
                    <a:cubicBezTo>
                      <a:pt x="0" y="93"/>
                      <a:pt x="14" y="43"/>
                      <a:pt x="38" y="0"/>
                    </a:cubicBezTo>
                    <a:cubicBezTo>
                      <a:pt x="51" y="17"/>
                      <a:pt x="62" y="35"/>
                      <a:pt x="71" y="54"/>
                    </a:cubicBezTo>
                    <a:cubicBezTo>
                      <a:pt x="59" y="82"/>
                      <a:pt x="53" y="113"/>
                      <a:pt x="53" y="146"/>
                    </a:cubicBezTo>
                    <a:cubicBezTo>
                      <a:pt x="53" y="280"/>
                      <a:pt x="161" y="388"/>
                      <a:pt x="295" y="388"/>
                    </a:cubicBezTo>
                    <a:cubicBezTo>
                      <a:pt x="364" y="388"/>
                      <a:pt x="426" y="360"/>
                      <a:pt x="470" y="314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89000"/>
                    </a:schemeClr>
                  </a:gs>
                  <a:gs pos="23000">
                    <a:schemeClr val="accent4">
                      <a:lumMod val="89000"/>
                    </a:schemeClr>
                  </a:gs>
                  <a:gs pos="69000">
                    <a:schemeClr val="accent4">
                      <a:lumMod val="75000"/>
                    </a:schemeClr>
                  </a:gs>
                  <a:gs pos="97000">
                    <a:schemeClr val="accent4">
                      <a:lumMod val="7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anchor="ctr"/>
              <a:lstStyle/>
              <a:p>
                <a:endParaRPr lang="ru-RU" sz="1400">
                  <a:latin typeface="+mj-lt"/>
                </a:endParaRPr>
              </a:p>
            </p:txBody>
          </p:sp>
          <p:sp>
            <p:nvSpPr>
              <p:cNvPr id="140" name="Freeform 283">
                <a:extLst>
                  <a:ext uri="{FF2B5EF4-FFF2-40B4-BE49-F238E27FC236}">
                    <a16:creationId xmlns:a16="http://schemas.microsoft.com/office/drawing/2014/main" id="{0859B011-B69F-4099-9A52-A38B10CD620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91955" y="1651000"/>
                <a:ext cx="1885950" cy="1658938"/>
              </a:xfrm>
              <a:custGeom>
                <a:avLst/>
                <a:gdLst>
                  <a:gd name="T0" fmla="*/ 1885950 w 502"/>
                  <a:gd name="T1" fmla="*/ 1109720 h 441"/>
                  <a:gd name="T2" fmla="*/ 1743189 w 502"/>
                  <a:gd name="T3" fmla="*/ 1658938 h 441"/>
                  <a:gd name="T4" fmla="*/ 1619212 w 502"/>
                  <a:gd name="T5" fmla="*/ 1455803 h 441"/>
                  <a:gd name="T6" fmla="*/ 1686836 w 502"/>
                  <a:gd name="T7" fmla="*/ 1109720 h 441"/>
                  <a:gd name="T8" fmla="*/ 777673 w 502"/>
                  <a:gd name="T9" fmla="*/ 199374 h 441"/>
                  <a:gd name="T10" fmla="*/ 123977 w 502"/>
                  <a:gd name="T11" fmla="*/ 477744 h 441"/>
                  <a:gd name="T12" fmla="*/ 0 w 502"/>
                  <a:gd name="T13" fmla="*/ 319750 h 441"/>
                  <a:gd name="T14" fmla="*/ 777673 w 502"/>
                  <a:gd name="T15" fmla="*/ 0 h 441"/>
                  <a:gd name="T16" fmla="*/ 1885950 w 502"/>
                  <a:gd name="T17" fmla="*/ 1109720 h 441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502" h="441">
                    <a:moveTo>
                      <a:pt x="502" y="295"/>
                    </a:moveTo>
                    <a:cubicBezTo>
                      <a:pt x="502" y="348"/>
                      <a:pt x="488" y="398"/>
                      <a:pt x="464" y="441"/>
                    </a:cubicBezTo>
                    <a:cubicBezTo>
                      <a:pt x="451" y="424"/>
                      <a:pt x="440" y="406"/>
                      <a:pt x="431" y="387"/>
                    </a:cubicBezTo>
                    <a:cubicBezTo>
                      <a:pt x="443" y="359"/>
                      <a:pt x="449" y="328"/>
                      <a:pt x="449" y="295"/>
                    </a:cubicBezTo>
                    <a:cubicBezTo>
                      <a:pt x="449" y="161"/>
                      <a:pt x="341" y="53"/>
                      <a:pt x="207" y="53"/>
                    </a:cubicBezTo>
                    <a:cubicBezTo>
                      <a:pt x="139" y="53"/>
                      <a:pt x="77" y="81"/>
                      <a:pt x="33" y="127"/>
                    </a:cubicBezTo>
                    <a:cubicBezTo>
                      <a:pt x="23" y="112"/>
                      <a:pt x="12" y="98"/>
                      <a:pt x="0" y="85"/>
                    </a:cubicBezTo>
                    <a:cubicBezTo>
                      <a:pt x="53" y="32"/>
                      <a:pt x="126" y="0"/>
                      <a:pt x="207" y="0"/>
                    </a:cubicBezTo>
                    <a:cubicBezTo>
                      <a:pt x="370" y="0"/>
                      <a:pt x="502" y="132"/>
                      <a:pt x="502" y="295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lumMod val="89000"/>
                    </a:schemeClr>
                  </a:gs>
                  <a:gs pos="23000">
                    <a:schemeClr val="accent4">
                      <a:lumMod val="89000"/>
                    </a:schemeClr>
                  </a:gs>
                  <a:gs pos="69000">
                    <a:schemeClr val="accent4">
                      <a:lumMod val="75000"/>
                    </a:schemeClr>
                  </a:gs>
                  <a:gs pos="97000">
                    <a:schemeClr val="accent4">
                      <a:lumMod val="7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anchor="ctr"/>
              <a:lstStyle/>
              <a:p>
                <a:endParaRPr lang="ru-RU" sz="1400">
                  <a:latin typeface="+mj-lt"/>
                </a:endParaRPr>
              </a:p>
            </p:txBody>
          </p:sp>
          <p:sp>
            <p:nvSpPr>
              <p:cNvPr id="141" name="TextBox 140">
                <a:extLst>
                  <a:ext uri="{FF2B5EF4-FFF2-40B4-BE49-F238E27FC236}">
                    <a16:creationId xmlns:a16="http://schemas.microsoft.com/office/drawing/2014/main" id="{6881881C-ACB4-4916-897A-887E82F4EB33}"/>
                  </a:ext>
                </a:extLst>
              </p:cNvPr>
              <p:cNvSpPr txBox="1"/>
              <p:nvPr/>
            </p:nvSpPr>
            <p:spPr>
              <a:xfrm>
                <a:off x="7439458" y="2300664"/>
                <a:ext cx="659155" cy="923330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/>
                <a:r>
                  <a:rPr lang="en-US" sz="5400" dirty="0">
                    <a:gradFill flip="none" rotWithShape="1">
                      <a:gsLst>
                        <a:gs pos="0">
                          <a:schemeClr val="accent4">
                            <a:lumMod val="89000"/>
                          </a:schemeClr>
                        </a:gs>
                        <a:gs pos="23000">
                          <a:schemeClr val="accent4">
                            <a:lumMod val="89000"/>
                          </a:schemeClr>
                        </a:gs>
                        <a:gs pos="69000">
                          <a:schemeClr val="accent4">
                            <a:lumMod val="75000"/>
                          </a:schemeClr>
                        </a:gs>
                        <a:gs pos="97000">
                          <a:schemeClr val="accent4">
                            <a:lumMod val="70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  <a:latin typeface="+mj-lt"/>
                    <a:ea typeface="Roboto Black" panose="02000000000000000000" pitchFamily="2" charset="0"/>
                  </a:rPr>
                  <a:t>A</a:t>
                </a:r>
              </a:p>
            </p:txBody>
          </p:sp>
        </p:grpSp>
        <p:grpSp>
          <p:nvGrpSpPr>
            <p:cNvPr id="142" name="Group 141">
              <a:extLst>
                <a:ext uri="{FF2B5EF4-FFF2-40B4-BE49-F238E27FC236}">
                  <a16:creationId xmlns:a16="http://schemas.microsoft.com/office/drawing/2014/main" id="{799D2A31-02F1-45D5-83A0-B7C52F5CFDDE}"/>
                </a:ext>
              </a:extLst>
            </p:cNvPr>
            <p:cNvGrpSpPr/>
            <p:nvPr/>
          </p:nvGrpSpPr>
          <p:grpSpPr>
            <a:xfrm>
              <a:off x="8295292" y="1651000"/>
              <a:ext cx="2214563" cy="2219325"/>
              <a:chOff x="8295292" y="1651000"/>
              <a:chExt cx="2214563" cy="2219325"/>
            </a:xfrm>
          </p:grpSpPr>
          <p:sp>
            <p:nvSpPr>
              <p:cNvPr id="143" name="Freeform 281">
                <a:extLst>
                  <a:ext uri="{FF2B5EF4-FFF2-40B4-BE49-F238E27FC236}">
                    <a16:creationId xmlns:a16="http://schemas.microsoft.com/office/drawing/2014/main" id="{790A574C-DCF0-4542-8E01-95551E4700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95292" y="1651000"/>
                <a:ext cx="2214563" cy="2219325"/>
              </a:xfrm>
              <a:custGeom>
                <a:avLst/>
                <a:gdLst>
                  <a:gd name="T0" fmla="*/ 1107282 w 590"/>
                  <a:gd name="T1" fmla="*/ 0 h 590"/>
                  <a:gd name="T2" fmla="*/ 330308 w 590"/>
                  <a:gd name="T3" fmla="*/ 319733 h 590"/>
                  <a:gd name="T4" fmla="*/ 454173 w 590"/>
                  <a:gd name="T5" fmla="*/ 477719 h 590"/>
                  <a:gd name="T6" fmla="*/ 1107282 w 590"/>
                  <a:gd name="T7" fmla="*/ 199363 h 590"/>
                  <a:gd name="T8" fmla="*/ 2015628 w 590"/>
                  <a:gd name="T9" fmla="*/ 1109663 h 590"/>
                  <a:gd name="T10" fmla="*/ 1107282 w 590"/>
                  <a:gd name="T11" fmla="*/ 2019962 h 590"/>
                  <a:gd name="T12" fmla="*/ 198935 w 590"/>
                  <a:gd name="T13" fmla="*/ 1109663 h 590"/>
                  <a:gd name="T14" fmla="*/ 266498 w 590"/>
                  <a:gd name="T15" fmla="*/ 759837 h 590"/>
                  <a:gd name="T16" fmla="*/ 142633 w 590"/>
                  <a:gd name="T17" fmla="*/ 560474 h 590"/>
                  <a:gd name="T18" fmla="*/ 0 w 590"/>
                  <a:gd name="T19" fmla="*/ 1109663 h 590"/>
                  <a:gd name="T20" fmla="*/ 1107282 w 590"/>
                  <a:gd name="T21" fmla="*/ 2219325 h 590"/>
                  <a:gd name="T22" fmla="*/ 2214563 w 590"/>
                  <a:gd name="T23" fmla="*/ 1109663 h 590"/>
                  <a:gd name="T24" fmla="*/ 1107282 w 590"/>
                  <a:gd name="T25" fmla="*/ 0 h 590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90" h="590">
                    <a:moveTo>
                      <a:pt x="295" y="0"/>
                    </a:moveTo>
                    <a:cubicBezTo>
                      <a:pt x="214" y="0"/>
                      <a:pt x="141" y="32"/>
                      <a:pt x="88" y="85"/>
                    </a:cubicBezTo>
                    <a:cubicBezTo>
                      <a:pt x="100" y="98"/>
                      <a:pt x="111" y="112"/>
                      <a:pt x="121" y="127"/>
                    </a:cubicBezTo>
                    <a:cubicBezTo>
                      <a:pt x="165" y="81"/>
                      <a:pt x="227" y="53"/>
                      <a:pt x="295" y="53"/>
                    </a:cubicBezTo>
                    <a:cubicBezTo>
                      <a:pt x="429" y="53"/>
                      <a:pt x="537" y="161"/>
                      <a:pt x="537" y="295"/>
                    </a:cubicBezTo>
                    <a:cubicBezTo>
                      <a:pt x="537" y="429"/>
                      <a:pt x="429" y="537"/>
                      <a:pt x="295" y="537"/>
                    </a:cubicBezTo>
                    <a:cubicBezTo>
                      <a:pt x="161" y="537"/>
                      <a:pt x="53" y="429"/>
                      <a:pt x="53" y="295"/>
                    </a:cubicBezTo>
                    <a:cubicBezTo>
                      <a:pt x="53" y="262"/>
                      <a:pt x="59" y="231"/>
                      <a:pt x="71" y="202"/>
                    </a:cubicBezTo>
                    <a:cubicBezTo>
                      <a:pt x="62" y="183"/>
                      <a:pt x="51" y="165"/>
                      <a:pt x="38" y="149"/>
                    </a:cubicBezTo>
                    <a:cubicBezTo>
                      <a:pt x="14" y="192"/>
                      <a:pt x="0" y="242"/>
                      <a:pt x="0" y="295"/>
                    </a:cubicBezTo>
                    <a:cubicBezTo>
                      <a:pt x="0" y="458"/>
                      <a:pt x="132" y="590"/>
                      <a:pt x="295" y="590"/>
                    </a:cubicBezTo>
                    <a:cubicBezTo>
                      <a:pt x="458" y="590"/>
                      <a:pt x="590" y="458"/>
                      <a:pt x="590" y="295"/>
                    </a:cubicBezTo>
                    <a:cubicBezTo>
                      <a:pt x="590" y="132"/>
                      <a:pt x="458" y="0"/>
                      <a:pt x="295" y="0"/>
                    </a:cubicBezTo>
                    <a:close/>
                  </a:path>
                </a:pathLst>
              </a:custGeom>
              <a:gradFill flip="none" rotWithShape="1">
                <a:gsLst>
                  <a:gs pos="0">
                    <a:schemeClr val="accent5">
                      <a:lumMod val="89000"/>
                    </a:schemeClr>
                  </a:gs>
                  <a:gs pos="23000">
                    <a:schemeClr val="accent5">
                      <a:lumMod val="89000"/>
                    </a:schemeClr>
                  </a:gs>
                  <a:gs pos="69000">
                    <a:schemeClr val="accent5">
                      <a:lumMod val="75000"/>
                    </a:schemeClr>
                  </a:gs>
                  <a:gs pos="97000">
                    <a:schemeClr val="accent5">
                      <a:lumMod val="70000"/>
                    </a:schemeClr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anchor="ctr"/>
              <a:lstStyle/>
              <a:p>
                <a:endParaRPr lang="ru-RU" sz="1400">
                  <a:latin typeface="+mj-lt"/>
                </a:endParaRPr>
              </a:p>
            </p:txBody>
          </p:sp>
          <p:sp>
            <p:nvSpPr>
              <p:cNvPr id="144" name="TextBox 143">
                <a:extLst>
                  <a:ext uri="{FF2B5EF4-FFF2-40B4-BE49-F238E27FC236}">
                    <a16:creationId xmlns:a16="http://schemas.microsoft.com/office/drawing/2014/main" id="{B3EB8EC3-7F77-4F1B-889B-7FEFF2631F7A}"/>
                  </a:ext>
                </a:extLst>
              </p:cNvPr>
              <p:cNvSpPr txBox="1"/>
              <p:nvPr/>
            </p:nvSpPr>
            <p:spPr>
              <a:xfrm>
                <a:off x="9166696" y="2325270"/>
                <a:ext cx="688009" cy="923330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algn="ctr"/>
                <a:r>
                  <a:rPr lang="en-US" sz="5400" dirty="0">
                    <a:gradFill flip="none" rotWithShape="1">
                      <a:gsLst>
                        <a:gs pos="0">
                          <a:schemeClr val="accent5">
                            <a:lumMod val="89000"/>
                          </a:schemeClr>
                        </a:gs>
                        <a:gs pos="23000">
                          <a:schemeClr val="accent5">
                            <a:lumMod val="89000"/>
                          </a:schemeClr>
                        </a:gs>
                        <a:gs pos="69000">
                          <a:schemeClr val="accent5">
                            <a:lumMod val="75000"/>
                          </a:schemeClr>
                        </a:gs>
                        <a:gs pos="97000">
                          <a:schemeClr val="accent5">
                            <a:lumMod val="70000"/>
                          </a:schemeClr>
                        </a:gs>
                      </a:gsLst>
                      <a:path path="circle">
                        <a:fillToRect l="50000" t="50000" r="50000" b="50000"/>
                      </a:path>
                      <a:tileRect/>
                    </a:gradFill>
                    <a:latin typeface="+mj-lt"/>
                    <a:ea typeface="Roboto Black" panose="02000000000000000000" pitchFamily="2" charset="0"/>
                  </a:rPr>
                  <a:t>R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5569952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00007D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ARTICULATE_DESIGN_ID_OFFICE THEME" val="syyYgZJJ"/>
  <p:tag name="ARTICULATE_PROJECT_OPEN" val="0"/>
  <p:tag name="ARTICULATE_SLIDE_COUNT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Infographics">
      <a:dk1>
        <a:sysClr val="windowText" lastClr="000000"/>
      </a:dk1>
      <a:lt1>
        <a:sysClr val="window" lastClr="FFFFFF"/>
      </a:lt1>
      <a:dk2>
        <a:srgbClr val="58595B"/>
      </a:dk2>
      <a:lt2>
        <a:srgbClr val="F1F2F2"/>
      </a:lt2>
      <a:accent1>
        <a:srgbClr val="00007D"/>
      </a:accent1>
      <a:accent2>
        <a:srgbClr val="1428A0"/>
      </a:accent2>
      <a:accent3>
        <a:srgbClr val="0077C8"/>
      </a:accent3>
      <a:accent4>
        <a:srgbClr val="00B3E3"/>
      </a:accent4>
      <a:accent5>
        <a:srgbClr val="00C3B2"/>
      </a:accent5>
      <a:accent6>
        <a:srgbClr val="97D653"/>
      </a:accent6>
      <a:hlink>
        <a:srgbClr val="00007D"/>
      </a:hlink>
      <a:folHlink>
        <a:srgbClr val="00007D"/>
      </a:folHlink>
    </a:clrScheme>
    <a:fontScheme name="Custom 157">
      <a:majorFont>
        <a:latin typeface="Tahoma bold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0">
    <wetp:webextensionref xmlns:r="http://schemas.openxmlformats.org/officeDocument/2006/relationships" r:id="rId1"/>
  </wetp:taskpane>
  <wetp:taskpane dockstate="right" visibility="0" width="350" row="9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4F0DB6AD-AA6A-49C8-9264-101355AEA7B2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62E04DD-50D8-4D76-9848-6555A8D2B5D4}">
  <we:reference id="wa200001396" version="2.1.6.0" store="en-001" storeType="OMEX"/>
  <we:alternateReferences>
    <we:reference id="wa200001396" version="2.1.6.0" store="en-001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20084</TotalTime>
  <Words>84</Words>
  <Application>Microsoft Office PowerPoint</Application>
  <PresentationFormat>Widescreen</PresentationFormat>
  <Paragraphs>17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Tahoma</vt:lpstr>
      <vt:lpstr>Tahoma bold</vt:lpstr>
      <vt:lpstr>Office Theme</vt:lpstr>
      <vt:lpstr>Slide Title He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monir</dc:creator>
  <cp:lastModifiedBy>andrew monir</cp:lastModifiedBy>
  <cp:revision>131</cp:revision>
  <dcterms:created xsi:type="dcterms:W3CDTF">2020-11-27T23:09:27Z</dcterms:created>
  <dcterms:modified xsi:type="dcterms:W3CDTF">2021-04-01T22:39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4BB15136-D798-4488-8D6D-3187EBF00F3F</vt:lpwstr>
  </property>
  <property fmtid="{D5CDD505-2E9C-101B-9397-08002B2CF9AE}" pid="3" name="ArticulatePath">
    <vt:lpwstr>https://d.docs.live.net/a32d64b1d32ea93c/Infographics/Infographics/Master file</vt:lpwstr>
  </property>
</Properties>
</file>